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8" r:id="rId2"/>
  </p:sldMasterIdLst>
  <p:notesMasterIdLst>
    <p:notesMasterId r:id="rId25"/>
  </p:notesMasterIdLst>
  <p:sldIdLst>
    <p:sldId id="261" r:id="rId3"/>
    <p:sldId id="314" r:id="rId4"/>
    <p:sldId id="15001155" r:id="rId5"/>
    <p:sldId id="301" r:id="rId6"/>
    <p:sldId id="305" r:id="rId7"/>
    <p:sldId id="303" r:id="rId8"/>
    <p:sldId id="308" r:id="rId9"/>
    <p:sldId id="307" r:id="rId10"/>
    <p:sldId id="312" r:id="rId11"/>
    <p:sldId id="15001156" r:id="rId12"/>
    <p:sldId id="15001157" r:id="rId13"/>
    <p:sldId id="15001158" r:id="rId14"/>
    <p:sldId id="15001145" r:id="rId15"/>
    <p:sldId id="15001146" r:id="rId16"/>
    <p:sldId id="15001147" r:id="rId17"/>
    <p:sldId id="15001148" r:id="rId18"/>
    <p:sldId id="15001149" r:id="rId19"/>
    <p:sldId id="15001150" r:id="rId20"/>
    <p:sldId id="15001151" r:id="rId21"/>
    <p:sldId id="15001152" r:id="rId22"/>
    <p:sldId id="15001153" r:id="rId23"/>
    <p:sldId id="15001154" r:id="rId24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08" autoAdjust="0"/>
    <p:restoredTop sz="96404" autoAdjust="0"/>
  </p:normalViewPr>
  <p:slideViewPr>
    <p:cSldViewPr snapToGrid="0">
      <p:cViewPr varScale="1">
        <p:scale>
          <a:sx n="107" d="100"/>
          <a:sy n="107" d="100"/>
        </p:scale>
        <p:origin x="654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0D080B-BA9D-403C-9BA6-CB4A694F06FA}" type="datetimeFigureOut">
              <a:rPr lang="ru-RU" smtClean="0"/>
              <a:t>04.11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E331BD-3BEE-4067-9D16-AE89B49EEE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0344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39309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99353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19021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09465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86359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33633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62323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33202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35683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55960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33413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7331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56173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033457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08891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095219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42727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51533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0550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705179-D54C-4DF2-9593-0CC575370DE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94568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9FB038-8264-4283-AEC2-60FC221556B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3012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6751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E3DC23-AA3E-408A-9236-DBAB42FCE94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25129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E357E-3CB2-45EB-B8F1-A2F73E8D5B5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32430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76D7F-1DB5-43D0-9729-873B4208B0B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44464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2F2F2">
            <a:alpha val="50195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F8AF6-415D-4D69-9EE0-FE9916997A2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6707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8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16506E-BD4C-4445-941D-C8119941169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61336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0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983538" y="136525"/>
            <a:ext cx="4114800" cy="365125"/>
          </a:xfrm>
        </p:spPr>
        <p:txBody>
          <a:bodyPr/>
          <a:lstStyle>
            <a:lvl1pPr>
              <a:defRPr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478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5360-4826-41AB-98FC-3FD61FA4797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84203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59978-CED7-4DB7-A16B-1B08BF5C4A0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08622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8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7741AA-2A09-4BB9-BF97-A1687891A61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26270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53F216-4239-4909-ACC1-9ADCA1C416C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88299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39501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2370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1601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26162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7123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3442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16160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9780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>
            <a:alpha val="30196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think-cell data - do not delete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" name="Слайд think-cell" r:id="rId16" imgW="360" imgH="360" progId="TCLayout.ActiveDocument.1">
                  <p:embed/>
                </p:oleObj>
              </mc:Choice>
              <mc:Fallback>
                <p:oleObj name="Слайд think-cell" r:id="rId16" imgW="360" imgH="360" progId="TCLayout.ActiveDocument.1">
                  <p:embed/>
                  <p:pic>
                    <p:nvPicPr>
                      <p:cNvPr id="102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Заголовок 2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заголовка</a:t>
            </a:r>
            <a:endParaRPr lang="en-US" altLang="en-US"/>
          </a:p>
        </p:txBody>
      </p:sp>
      <p:sp>
        <p:nvSpPr>
          <p:cNvPr id="1028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текста</a:t>
            </a:r>
          </a:p>
          <a:p>
            <a:pPr lvl="1"/>
            <a:r>
              <a:rPr lang="ru-RU" altLang="en-US"/>
              <a:t>Второй уровень</a:t>
            </a:r>
          </a:p>
          <a:p>
            <a:pPr lvl="2"/>
            <a:r>
              <a:rPr lang="ru-RU" altLang="en-US"/>
              <a:t>Третий уровень</a:t>
            </a:r>
          </a:p>
          <a:p>
            <a:pPr lvl="3"/>
            <a:r>
              <a:rPr lang="ru-RU" altLang="en-US"/>
              <a:t>Четвертый уровень</a:t>
            </a:r>
          </a:p>
          <a:p>
            <a:pPr lvl="4"/>
            <a:r>
              <a:rPr lang="ru-RU" altLang="en-US"/>
              <a:t>Пятый уровень</a:t>
            </a:r>
            <a:endParaRPr lang="en-US" altLang="en-US"/>
          </a:p>
        </p:txBody>
      </p:sp>
      <p:sp>
        <p:nvSpPr>
          <p:cNvPr id="5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192F1-E905-494F-B976-BA88E09B673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7589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100000">
              <a:schemeClr val="tx1"/>
            </a:gs>
            <a:gs pos="64000">
              <a:schemeClr val="bg2">
                <a:shade val="96000"/>
                <a:satMod val="120000"/>
                <a:lumMod val="97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3898232"/>
            <a:ext cx="12192000" cy="295976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0" y="1464887"/>
            <a:ext cx="12192000" cy="23186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ru-RU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</a:t>
            </a:r>
            <a:r>
              <a:rPr lang="ru-RU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селелер</a:t>
            </a:r>
            <a:r>
              <a:rPr lang="ru-RU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en-US" altLang="en-US" sz="48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6271828"/>
            <a:ext cx="12192000" cy="471488"/>
          </a:xfrm>
        </p:spPr>
        <p:txBody>
          <a:bodyPr rtlCol="0"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 </a:t>
            </a:r>
            <a:r>
              <a:rPr lang="kk-KZ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.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24</a:t>
            </a:r>
            <a:r>
              <a:rPr lang="en-US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. </a:t>
            </a:r>
            <a:r>
              <a:rPr lang="ru-RU" sz="1800" i="1" kern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ша</a:t>
            </a:r>
            <a:endParaRPr lang="ru-RU" sz="1800" i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00838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олданыстағ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кодексіндег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КТС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өлімнің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ұрылымы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0</a:t>
            </a:fld>
            <a:endParaRPr lang="en-US" sz="105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23845EFD-70FD-4475-855B-ABE27A65C0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478800"/>
              </p:ext>
            </p:extLst>
          </p:nvPr>
        </p:nvGraphicFramePr>
        <p:xfrm>
          <a:off x="302231" y="1003510"/>
          <a:ext cx="11587538" cy="5650879"/>
        </p:xfrm>
        <a:graphic>
          <a:graphicData uri="http://schemas.openxmlformats.org/drawingml/2006/table">
            <a:tbl>
              <a:tblPr/>
              <a:tblGrid>
                <a:gridCol w="1314902">
                  <a:extLst>
                    <a:ext uri="{9D8B030D-6E8A-4147-A177-3AD203B41FA5}">
                      <a16:colId xmlns:a16="http://schemas.microsoft.com/office/drawing/2014/main" val="4005578019"/>
                    </a:ext>
                  </a:extLst>
                </a:gridCol>
                <a:gridCol w="4379726">
                  <a:extLst>
                    <a:ext uri="{9D8B030D-6E8A-4147-A177-3AD203B41FA5}">
                      <a16:colId xmlns:a16="http://schemas.microsoft.com/office/drawing/2014/main" val="1635247501"/>
                    </a:ext>
                  </a:extLst>
                </a:gridCol>
                <a:gridCol w="4019738">
                  <a:extLst>
                    <a:ext uri="{9D8B030D-6E8A-4147-A177-3AD203B41FA5}">
                      <a16:colId xmlns:a16="http://schemas.microsoft.com/office/drawing/2014/main" val="2215199332"/>
                    </a:ext>
                  </a:extLst>
                </a:gridCol>
                <a:gridCol w="1873172">
                  <a:extLst>
                    <a:ext uri="{9D8B030D-6E8A-4147-A177-3AD203B41FA5}">
                      <a16:colId xmlns:a16="http://schemas.microsoft.com/office/drawing/2014/main" val="523993654"/>
                    </a:ext>
                  </a:extLst>
                </a:gridCol>
              </a:tblGrid>
              <a:tr h="35863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өлім</a:t>
                      </a:r>
                      <a:endParaRPr lang="ru-RU" sz="900" b="1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араулар</a:t>
                      </a:r>
                      <a:endParaRPr lang="ru-RU" sz="900" b="1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тар</a:t>
                      </a:r>
                      <a:endParaRPr lang="ru-RU" sz="9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аптар</a:t>
                      </a:r>
                      <a:endParaRPr lang="ru-RU" sz="9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9418112"/>
                  </a:ext>
                </a:extLst>
              </a:tr>
              <a:tr h="303313">
                <a:tc rowSpan="15"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-Бөлім. КТ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7-Тарау.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алпы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ережелер</a:t>
                      </a:r>
                      <a:endParaRPr lang="ru-RU" sz="9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222, 223 (2) </a:t>
                      </a:r>
                      <a:r>
                        <a:rPr lang="ru-RU" sz="9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1244872"/>
                  </a:ext>
                </a:extLst>
              </a:tr>
              <a:tr h="188742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8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8-Тарау</a:t>
                      </a: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лық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лынатын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абыс</a:t>
                      </a:r>
                      <a:endParaRPr lang="ru-RU" sz="9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9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24 (1) </a:t>
                      </a:r>
                      <a:r>
                        <a:rPr lang="ru-RU" sz="9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  <a:p>
                      <a:pPr algn="ctr" rtl="0" fontAlgn="ctr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2999194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-Параграф. </a:t>
                      </a: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ЖЖ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25-241 (18) </a:t>
                      </a:r>
                      <a:r>
                        <a:rPr lang="ru-RU" sz="9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  <a:p>
                      <a:pPr algn="ctr" rtl="0" fontAlgn="ctr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2931423"/>
                  </a:ext>
                </a:extLst>
              </a:tr>
              <a:tr h="272224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-Параграф.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егерімдер</a:t>
                      </a:r>
                      <a:endParaRPr lang="ru-RU" sz="9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2-264 (23) </a:t>
                      </a:r>
                      <a:r>
                        <a:rPr lang="ru-RU" sz="9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7163645"/>
                  </a:ext>
                </a:extLst>
              </a:tr>
              <a:tr h="341514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-Параграф.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іркелген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ктивтер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егерімдер</a:t>
                      </a:r>
                      <a:endParaRPr lang="ru-RU" sz="9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65-273 (9) </a:t>
                      </a:r>
                      <a:r>
                        <a:rPr lang="ru-RU" sz="9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  <a:p>
                      <a:pPr algn="ctr" rtl="0" fontAlgn="ctr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2793157"/>
                  </a:ext>
                </a:extLst>
              </a:tr>
              <a:tr h="37126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-Параграф. 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Инвест.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лық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референциялары</a:t>
                      </a:r>
                      <a:endParaRPr lang="ru-RU" sz="9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74-275 (3) </a:t>
                      </a:r>
                      <a:r>
                        <a:rPr lang="ru-RU" sz="9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8425012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-Параграф.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уынды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қаржы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құралдары</a:t>
                      </a:r>
                      <a:endParaRPr lang="ru-RU" sz="9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77-281 (5) </a:t>
                      </a:r>
                      <a:r>
                        <a:rPr lang="ru-RU" sz="9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0556532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-Параграф.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Ұзақ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ерзімді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елісімшарттар</a:t>
                      </a:r>
                      <a:endParaRPr lang="ru-RU" sz="9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82-285 (4) </a:t>
                      </a:r>
                      <a:r>
                        <a:rPr lang="ru-RU" sz="9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821150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-Параграф.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ірістер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мен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егерімдерді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үзету</a:t>
                      </a:r>
                      <a:endParaRPr lang="ru-RU" sz="9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86, 287 (2) </a:t>
                      </a:r>
                      <a:r>
                        <a:rPr lang="ru-RU" sz="9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097761"/>
                  </a:ext>
                </a:extLst>
              </a:tr>
              <a:tr h="521574"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9-Тарау. 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Н-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ның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заюы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немесе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ұлғаюы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(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ығынның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заюы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)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СТ-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дің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ейбір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наттарынан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осату</a:t>
                      </a:r>
                      <a:endParaRPr lang="ru-RU" sz="9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88-293 (6) </a:t>
                      </a:r>
                      <a:r>
                        <a:rPr lang="ru-RU" sz="9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3469230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0-Тарау. 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ШК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айдасына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лық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салу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94-298 (5) </a:t>
                      </a:r>
                      <a:r>
                        <a:rPr lang="ru-RU" sz="9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6647025"/>
                  </a:ext>
                </a:extLst>
              </a:tr>
              <a:tr h="227145"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1-Тарау.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ығындар</a:t>
                      </a:r>
                      <a:endParaRPr lang="ru-RU" sz="9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99-301 (3) </a:t>
                      </a:r>
                      <a:r>
                        <a:rPr lang="ru-RU" sz="9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4688111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2-Тарау. 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ТС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есептеу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әртібі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өлеу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ерзімдері</a:t>
                      </a:r>
                      <a:endParaRPr lang="ru-RU" sz="9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02-312 (5) </a:t>
                      </a:r>
                      <a:r>
                        <a:rPr lang="ru-RU" sz="9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008499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3-Тарау.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өлем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өзінен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ұсталатын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КТ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07-312 (6) </a:t>
                      </a:r>
                      <a:r>
                        <a:rPr lang="ru-RU" sz="9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306096"/>
                  </a:ext>
                </a:extLst>
              </a:tr>
              <a:tr h="393406"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4-Тарау.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лық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тавкалары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лық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езеңі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лық</a:t>
                      </a:r>
                      <a:r>
                        <a:rPr lang="ru-RU" sz="9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9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декларациясы</a:t>
                      </a:r>
                      <a:endParaRPr lang="ru-RU" sz="9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13-315 (3) </a:t>
                      </a:r>
                      <a:r>
                        <a:rPr lang="ru-RU" sz="9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888565"/>
                  </a:ext>
                </a:extLst>
              </a:tr>
              <a:tr h="3934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АРЛЫҒ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3165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919483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кодексінің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обасындағ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КТС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өлімнің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ұрылым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(1/1)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1</a:t>
            </a:fld>
            <a:endParaRPr lang="en-US" sz="105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23845EFD-70FD-4475-855B-ABE27A65C0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0265370"/>
              </p:ext>
            </p:extLst>
          </p:nvPr>
        </p:nvGraphicFramePr>
        <p:xfrm>
          <a:off x="302231" y="1143209"/>
          <a:ext cx="11587538" cy="4971841"/>
        </p:xfrm>
        <a:graphic>
          <a:graphicData uri="http://schemas.openxmlformats.org/drawingml/2006/table">
            <a:tbl>
              <a:tblPr/>
              <a:tblGrid>
                <a:gridCol w="1059253">
                  <a:extLst>
                    <a:ext uri="{9D8B030D-6E8A-4147-A177-3AD203B41FA5}">
                      <a16:colId xmlns:a16="http://schemas.microsoft.com/office/drawing/2014/main" val="4005578019"/>
                    </a:ext>
                  </a:extLst>
                </a:gridCol>
                <a:gridCol w="3844259">
                  <a:extLst>
                    <a:ext uri="{9D8B030D-6E8A-4147-A177-3AD203B41FA5}">
                      <a16:colId xmlns:a16="http://schemas.microsoft.com/office/drawing/2014/main" val="1635247501"/>
                    </a:ext>
                  </a:extLst>
                </a:gridCol>
                <a:gridCol w="5042780">
                  <a:extLst>
                    <a:ext uri="{9D8B030D-6E8A-4147-A177-3AD203B41FA5}">
                      <a16:colId xmlns:a16="http://schemas.microsoft.com/office/drawing/2014/main" val="2215199332"/>
                    </a:ext>
                  </a:extLst>
                </a:gridCol>
                <a:gridCol w="1641246">
                  <a:extLst>
                    <a:ext uri="{9D8B030D-6E8A-4147-A177-3AD203B41FA5}">
                      <a16:colId xmlns:a16="http://schemas.microsoft.com/office/drawing/2014/main" val="523993654"/>
                    </a:ext>
                  </a:extLst>
                </a:gridCol>
              </a:tblGrid>
              <a:tr h="35863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өлім</a:t>
                      </a:r>
                      <a:endParaRPr lang="ru-RU" sz="1400" b="1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араулар</a:t>
                      </a:r>
                      <a:endParaRPr lang="ru-RU" sz="1400" b="1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тар</a:t>
                      </a:r>
                      <a:endParaRPr lang="ru-RU" sz="14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аптар</a:t>
                      </a:r>
                      <a:endParaRPr lang="ru-RU" sz="14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9418112"/>
                  </a:ext>
                </a:extLst>
              </a:tr>
              <a:tr h="112012">
                <a:tc rowSpan="18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-Бөлім. КТ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2-Тарау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алпы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ережелер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26-228 (3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1244872"/>
                  </a:ext>
                </a:extLst>
              </a:tr>
              <a:tr h="16237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-Тарау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лық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лынаты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абыс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немесе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ығын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29 (1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7508279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-Тарау. 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ЖЖ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-Параграф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алпы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ережелер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0 (1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9077975"/>
                  </a:ext>
                </a:extLst>
              </a:tr>
              <a:tr h="200810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-Параграф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абыспе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анылмайты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экономикалық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айда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1 (1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1296039"/>
                  </a:ext>
                </a:extLst>
              </a:tr>
              <a:tr h="235390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-Параграф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екелеге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қызмет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үрлері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2-242 (11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4877845"/>
                  </a:ext>
                </a:extLst>
              </a:tr>
              <a:tr h="235390">
                <a:tc v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-Параграф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Құ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өсіміне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үске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абыс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3-247 (5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202761"/>
                  </a:ext>
                </a:extLst>
              </a:tr>
              <a:tr h="235390">
                <a:tc v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-Параграф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ірісті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зайту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үзету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8, 249 (2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170044"/>
                  </a:ext>
                </a:extLst>
              </a:tr>
              <a:tr h="184882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5-Тарау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егерімдер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-Параграф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алпы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ережелер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50 (1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6896614"/>
                  </a:ext>
                </a:extLst>
              </a:tr>
              <a:tr h="280657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-Параграф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егерімдердің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екелеге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үрлері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51-266 (16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1925361"/>
                  </a:ext>
                </a:extLst>
              </a:tr>
              <a:tr h="280657">
                <a:tc v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-Параграф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іркелге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ктивтер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егерімдер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67-275 (9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647111"/>
                  </a:ext>
                </a:extLst>
              </a:tr>
              <a:tr h="280657">
                <a:tc v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-Параграф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Инвестициялық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лық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референциялары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76-278 (3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1914585"/>
                  </a:ext>
                </a:extLst>
              </a:tr>
              <a:tr h="280657">
                <a:tc v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-Параграф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егеруге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атпайты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ығындар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79, 280 (2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484448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-Параграф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егерімдерді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үзету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81 (1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299807"/>
                  </a:ext>
                </a:extLst>
              </a:tr>
              <a:tr h="144959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6-Тарау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уынды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қаржы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құралдары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ірістер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мен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егерімдерді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йқындау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ерекшеліктері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12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82-286 (5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1628426"/>
                  </a:ext>
                </a:extLst>
              </a:tr>
              <a:tr h="144959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7-Тарау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Ұзақ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ерзімді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елісімшарттар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ірістер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мен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егерімдерді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йқындау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ерекшеліктері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87-289 (3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6452857"/>
                  </a:ext>
                </a:extLst>
              </a:tr>
              <a:tr h="144959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8-Тарау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ер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қойнауы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айдаланушылардың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абыстары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мен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егерімдері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йқындау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ерекшеліктері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-Параграф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ірістер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90-292 (3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8557348"/>
                  </a:ext>
                </a:extLst>
              </a:tr>
              <a:tr h="144959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-Параграф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егерімдер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93-295 (9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0375912"/>
                  </a:ext>
                </a:extLst>
              </a:tr>
              <a:tr h="144959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-Параграф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абиғи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ресурстарды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геологиялық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зерттеуге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арлауға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өндіруге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дайындық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ұмыстарына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рналға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ығыстарды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егеру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96-309 (14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06372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461882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кодексінің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обасындағ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КТС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өлімнің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ұрылым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(1/2)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2</a:t>
            </a:fld>
            <a:endParaRPr lang="en-US" sz="105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23845EFD-70FD-4475-855B-ABE27A65C0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2988904"/>
              </p:ext>
            </p:extLst>
          </p:nvPr>
        </p:nvGraphicFramePr>
        <p:xfrm>
          <a:off x="302231" y="1143209"/>
          <a:ext cx="11587538" cy="4724011"/>
        </p:xfrm>
        <a:graphic>
          <a:graphicData uri="http://schemas.openxmlformats.org/drawingml/2006/table">
            <a:tbl>
              <a:tblPr/>
              <a:tblGrid>
                <a:gridCol w="1247169">
                  <a:extLst>
                    <a:ext uri="{9D8B030D-6E8A-4147-A177-3AD203B41FA5}">
                      <a16:colId xmlns:a16="http://schemas.microsoft.com/office/drawing/2014/main" val="4005578019"/>
                    </a:ext>
                  </a:extLst>
                </a:gridCol>
                <a:gridCol w="3656343">
                  <a:extLst>
                    <a:ext uri="{9D8B030D-6E8A-4147-A177-3AD203B41FA5}">
                      <a16:colId xmlns:a16="http://schemas.microsoft.com/office/drawing/2014/main" val="1635247501"/>
                    </a:ext>
                  </a:extLst>
                </a:gridCol>
                <a:gridCol w="5042780">
                  <a:extLst>
                    <a:ext uri="{9D8B030D-6E8A-4147-A177-3AD203B41FA5}">
                      <a16:colId xmlns:a16="http://schemas.microsoft.com/office/drawing/2014/main" val="2215199332"/>
                    </a:ext>
                  </a:extLst>
                </a:gridCol>
                <a:gridCol w="1641246">
                  <a:extLst>
                    <a:ext uri="{9D8B030D-6E8A-4147-A177-3AD203B41FA5}">
                      <a16:colId xmlns:a16="http://schemas.microsoft.com/office/drawing/2014/main" val="523993654"/>
                    </a:ext>
                  </a:extLst>
                </a:gridCol>
              </a:tblGrid>
              <a:tr h="35863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өлім</a:t>
                      </a:r>
                      <a:endParaRPr lang="ru-RU" sz="14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Тараулар</a:t>
                      </a:r>
                      <a:endParaRPr lang="ru-RU" sz="14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Параграфтар</a:t>
                      </a:r>
                      <a:endParaRPr lang="ru-RU" sz="14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аптар</a:t>
                      </a:r>
                      <a:endParaRPr lang="ru-RU" sz="14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9418112"/>
                  </a:ext>
                </a:extLst>
              </a:tr>
              <a:tr h="112012">
                <a:tc rowSpan="11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-Бөлім. КТ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9-Тарау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Қаржылық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қызметті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үзеге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сыраты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ұлғалардың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ірістер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мен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егерімдерді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йқындау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ерекшеліктері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-Параграф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Қаржылық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қызметті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үзеге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сыраты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ұлғалардың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абыстары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10-312 (3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1244872"/>
                  </a:ext>
                </a:extLst>
              </a:tr>
              <a:tr h="16237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-Параграф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Қаржылық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қызметті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үзеге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сыраты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ұлғалардың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егерімдері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13-315 (3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7508279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0-Тарау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Цифрлық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ктивтерме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операцияларды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үзеге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сыраты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ұлғалардың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ірістер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мен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егерімдерді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йқындау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ерекшеліктері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ru-RU" sz="12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16-318 (3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9077975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1-Тарау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үгедектігі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бар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дамдардың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оммерциялық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емес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ұйымдары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мен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амандандырылға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ұйымдарына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лық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салу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19-322 (4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5018694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2-Тарау. 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ШК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айдасына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лық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салу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23-327 (5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439768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3-Тарау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лық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лынаты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ірісті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зайту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28 (1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8814989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4-Тарау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Шығындар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29-335 (7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3206175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5-Тарау. 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ТС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есептеу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әртібі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өлеу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ерзімдері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-Параграф. 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ТС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есептеу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өлеу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36-338 (3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3278766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-Параграф. 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ТС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ванстық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өлемдер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39-341 (3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4002817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6-Тарау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Төлем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өзіне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ұсталатын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КТ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42-347 (6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9512119"/>
                  </a:ext>
                </a:extLst>
              </a:tr>
              <a:tr h="303313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7-Тарау.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лық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тавкалары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лық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езеңі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және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алық</a:t>
                      </a:r>
                      <a:r>
                        <a:rPr lang="ru-RU" sz="12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декларациясы</a:t>
                      </a:r>
                      <a:endParaRPr lang="ru-RU" sz="12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48-350 (3) </a:t>
                      </a:r>
                      <a:r>
                        <a:rPr lang="ru-RU" sz="1200" b="0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п</a:t>
                      </a:r>
                      <a:r>
                        <a:rPr lang="ru-RU" sz="12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1491174"/>
                  </a:ext>
                </a:extLst>
              </a:tr>
              <a:tr h="30331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БАРЛЫҒЫ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87393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64737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кодексінің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обасындағ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КТС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өлімнің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ұрылымы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өзгерту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3</a:t>
            </a:fld>
            <a:endParaRPr lang="en-US" sz="105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DCE3981-6046-4B75-8A91-3AD79FB6BFDC}"/>
              </a:ext>
            </a:extLst>
          </p:cNvPr>
          <p:cNvSpPr txBox="1"/>
          <p:nvPr/>
        </p:nvSpPr>
        <p:spPr>
          <a:xfrm>
            <a:off x="368709" y="1859851"/>
            <a:ext cx="5507012" cy="3016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дерді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ттеу</a:t>
            </a:r>
            <a:endParaRPr lang="ru-RU" sz="20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42912" lvl="4"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удың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екшеліктері</a:t>
            </a:r>
            <a:endParaRPr 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sz="20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қа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ға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уды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йту</a:t>
            </a:r>
            <a:endParaRPr 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ТС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еу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ларациялау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ртібі</a:t>
            </a:r>
            <a:endParaRPr 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2A843D0-C23E-4E8D-87C1-401312AA4CD4}"/>
              </a:ext>
            </a:extLst>
          </p:cNvPr>
          <p:cNvSpPr/>
          <p:nvPr/>
        </p:nvSpPr>
        <p:spPr>
          <a:xfrm>
            <a:off x="6863125" y="2210448"/>
            <a:ext cx="4787324" cy="30675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КТС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ойынша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нормаларды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олданудың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ыңғайлылығы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мен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арапайымдылығы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ақсатында</a:t>
            </a:r>
            <a:endParaRPr lang="ru-RU" sz="2000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endParaRPr lang="ru-RU" sz="2000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Кірістер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мен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шегерімдердің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үрлерін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нақтылау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ақсатында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,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ұл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ызметтің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нақты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үрі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мен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шегерімдердің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үрі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ойынша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иісті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нормаларды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олдануға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үмкіндік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ереді</a:t>
            </a:r>
            <a:endParaRPr lang="ru-RU" sz="2000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7" name="Правая фигурная скобка 6">
            <a:extLst>
              <a:ext uri="{FF2B5EF4-FFF2-40B4-BE49-F238E27FC236}">
                <a16:creationId xmlns:a16="http://schemas.microsoft.com/office/drawing/2014/main" id="{125B16CE-0B9A-4277-BC90-B2243C0B539A}"/>
              </a:ext>
            </a:extLst>
          </p:cNvPr>
          <p:cNvSpPr/>
          <p:nvPr/>
        </p:nvSpPr>
        <p:spPr>
          <a:xfrm>
            <a:off x="5787574" y="1787423"/>
            <a:ext cx="444010" cy="3605780"/>
          </a:xfrm>
          <a:prstGeom prst="rightBrace">
            <a:avLst>
              <a:gd name="adj1" fmla="val 114144"/>
              <a:gd name="adj2" fmla="val 50824"/>
            </a:avLst>
          </a:prstGeom>
          <a:ln w="38100">
            <a:solidFill>
              <a:schemeClr val="accent3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9" name="CuadroTexto 350">
            <a:extLst>
              <a:ext uri="{FF2B5EF4-FFF2-40B4-BE49-F238E27FC236}">
                <a16:creationId xmlns:a16="http://schemas.microsoft.com/office/drawing/2014/main" id="{DF9C76F2-C9ED-42F2-9AAE-297704F7A677}"/>
              </a:ext>
            </a:extLst>
          </p:cNvPr>
          <p:cNvSpPr txBox="1"/>
          <p:nvPr/>
        </p:nvSpPr>
        <p:spPr>
          <a:xfrm>
            <a:off x="1261727" y="1268277"/>
            <a:ext cx="3720976" cy="33855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kern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Lato Heavy" charset="0"/>
                <a:cs typeface="Arial" panose="020B0604020202020204" pitchFamily="34" charset="0"/>
              </a:rPr>
              <a:t>ҰСЫНЫЛАДЫ</a:t>
            </a:r>
            <a:endParaRPr lang="en-US" sz="1600" b="1" kern="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Lato Heavy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55850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Кірістерд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ретте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(1/1)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7406" y="1160618"/>
            <a:ext cx="11937188" cy="50398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тың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ату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ының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дықтарды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му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игондарының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жаты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тсыз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да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ке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месі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тай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ысанда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лға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да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мірсутектерді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гі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лық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арылға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іміне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еті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дық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у-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сейнінің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і</a:t>
            </a: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дық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ржасының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і</a:t>
            </a: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ышкер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ге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йындаға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ақсыздық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ыбы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ыппұлдар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імпұлдар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ларды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аудың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дісі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дағы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ң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ырмашылық</a:t>
            </a: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а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н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ған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ып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лды</a:t>
            </a:r>
            <a:endParaRPr lang="ru-RU" sz="17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sz="17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мдермен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нген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ді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у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екшеліктері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ынд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лдар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зақ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ді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тар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лық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ме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ялар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йнауы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шылар</a:t>
            </a: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97449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Кірістерд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ретте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(1/2) 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i="1" dirty="0" err="1">
                <a:latin typeface="Arial" panose="020B0604020202020204" pitchFamily="34" charset="0"/>
                <a:cs typeface="Arial" panose="020B0604020202020204" pitchFamily="34" charset="0"/>
              </a:rPr>
              <a:t>құн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 err="1">
                <a:latin typeface="Arial" panose="020B0604020202020204" pitchFamily="34" charset="0"/>
                <a:cs typeface="Arial" panose="020B0604020202020204" pitchFamily="34" charset="0"/>
              </a:rPr>
              <a:t>өсімінен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 err="1">
                <a:latin typeface="Arial" panose="020B0604020202020204" pitchFamily="34" charset="0"/>
                <a:cs typeface="Arial" panose="020B0604020202020204" pitchFamily="34" charset="0"/>
              </a:rPr>
              <a:t>түскен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 err="1"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7406" y="1111934"/>
            <a:ext cx="11937188" cy="64710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імінен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кен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араграф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імінен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етін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тың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леген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не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у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7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қы</a:t>
            </a:r>
            <a:r>
              <a:rPr lang="ru-RU" sz="17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ның</a:t>
            </a:r>
            <a:r>
              <a:rPr lang="ru-RU" sz="17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ыптасу</a:t>
            </a:r>
            <a:r>
              <a:rPr lang="ru-RU" sz="17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екшеліктеріне</a:t>
            </a:r>
            <a:r>
              <a:rPr lang="ru-RU" sz="17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7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лесі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ы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ғаздар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ы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лығыме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ге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қызылға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мортизацияға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пайты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мортизацияланатын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а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ып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лды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маттар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ып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ды</a:t>
            </a: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атылмаға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бдықпен</a:t>
            </a:r>
            <a:r>
              <a:rPr lang="ru-RU" sz="17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лықтырылды</a:t>
            </a: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endParaRPr lang="ru-RU" sz="17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гендеу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ды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ыстыру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ртібімен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нхрондау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ілді</a:t>
            </a:r>
            <a:endParaRPr lang="ru-RU" sz="17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sz="17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і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менті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ілуде</a:t>
            </a:r>
            <a:r>
              <a:rPr lang="ru-RU" sz="17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2575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16926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Шегерімдерд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ретте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(1/1)</a:t>
            </a:r>
            <a:endParaRPr lang="en-US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7406" y="1088976"/>
            <a:ext cx="11937188" cy="54553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де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лға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ді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лға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уі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ректорла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ңес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шелеріні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ыны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парлар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емақыл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у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идент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мес-өзар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апп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ар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ырыс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дерді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екшеліктері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арылға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ап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г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у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мдерг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нг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дерд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екшеліктер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ын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лдар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за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д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та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м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яла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йнау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шылар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деление затрат, не подлежащих вычету на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уг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пайт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д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нг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ла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ындаға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п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уғ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ат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дыңғ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дерд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керілг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84228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Шегерімдерд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ретте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(1/2) 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7406" y="1288153"/>
            <a:ext cx="11937188" cy="54168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лг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де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аграф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лығым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л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ларғ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генде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ілд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ла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ктикас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кер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рып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қтыланды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лг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амортизация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лар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сіл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лды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лг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мына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09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лға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та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ңберінд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ғ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ілг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ып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лды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лг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ді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г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жолғ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италдандыр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ңда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ференциялар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ференцияла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сіні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қ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ын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ілеті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г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қыз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а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ференциялар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сінің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ы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ан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гі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ды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ференция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дарлама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қтамағ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ңейтілді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Р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мағынд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ұндай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д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ғаш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т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ып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лды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имаратта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та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тік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ттағ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ып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лды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менті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д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ғ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мкіндігі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68333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удың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ерекшеліктер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07818" y="1379982"/>
            <a:ext cx="11629370" cy="35625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м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латы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яла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у-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әтижесінд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ға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ып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ға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д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қындауды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сілі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за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д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тарғ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дігерлік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тарын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ату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за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д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іні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яқтал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лды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хгалтерлік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қызылға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індег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лютаның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ықт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мының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руін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м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нуг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аты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апт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мен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екстеуд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зетуд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у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01380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наты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кіріст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kk-KZ" sz="2800" b="1" dirty="0">
                <a:latin typeface="Arial" panose="020B0604020202020204" pitchFamily="34" charset="0"/>
                <a:cs typeface="Arial" panose="020B0604020202020204" pitchFamily="34" charset="0"/>
              </a:rPr>
              <a:t>ССК</a:t>
            </a: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азайт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шығындар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79387" y="1122044"/>
            <a:ext cx="11937188" cy="54938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СК</a:t>
            </a:r>
            <a:r>
              <a:rPr lang="en-US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йт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зинг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йақыларды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ю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0% - дан 50% -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йтылды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ғазда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ып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лды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ышт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ғазда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імін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лды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СК</a:t>
            </a:r>
            <a:r>
              <a:rPr lang="en-US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йт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а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ды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д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п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ту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ып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лды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ікт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рбес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лім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рын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еусіз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ып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лды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де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ғ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керлік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ъектісіні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тік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ттағ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имаратта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т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ып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ғ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уғ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ып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лды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ЗТКЖ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ыны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сына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0% - дан 200%-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м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ғайтылды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тте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керлік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н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зақ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ді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риалдық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дің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уынан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тердің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уынан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«Астана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шыларының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ияткерлік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шік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сі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ПФИ </a:t>
            </a:r>
            <a:r>
              <a:rPr lang="ru-RU" sz="14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лалд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ыстыр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е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ртібі</a:t>
            </a:r>
            <a:r>
              <a:rPr lang="ru-RU" dirty="0"/>
              <a:t>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генде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імін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к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п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нхронда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319686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КТС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мөлшерлемелер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ағдай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2</a:t>
            </a:fld>
            <a:endParaRPr lang="en-US" sz="105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DCE3981-6046-4B75-8A91-3AD79FB6BFDC}"/>
              </a:ext>
            </a:extLst>
          </p:cNvPr>
          <p:cNvSpPr txBox="1"/>
          <p:nvPr/>
        </p:nvSpPr>
        <p:spPr>
          <a:xfrm>
            <a:off x="343228" y="1330859"/>
            <a:ext cx="11759117" cy="39472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20%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ыл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уашылығ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уары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шілерг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ле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10%</a:t>
            </a:r>
          </a:p>
          <a:p>
            <a:pPr marL="9683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м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ыл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уашылығ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дері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шіле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й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і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ат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ыл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уашылығ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оперативтері</a:t>
            </a:r>
            <a:r>
              <a:rPr lang="ru-RU" dirty="0"/>
              <a:t>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ТС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сы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0% -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йтуғ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лы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683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к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нуг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ат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ТС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с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қында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ла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елг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ТС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сы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0% -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йта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гі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ні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зинг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тар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ға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наты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0% -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йтуғ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ғ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ар 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гі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20977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КТС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есепте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декларацияла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әртіб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7406" y="1316606"/>
            <a:ext cx="11937188" cy="29238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калард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ТС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ек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наты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д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мен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дарының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қсандағ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анст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еуі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ларациян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псырғанғ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анст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ырысуд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п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у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lvl="4" algn="just"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75081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Алынып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асталға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еңілдіктер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7406" y="1026896"/>
            <a:ext cx="11937188" cy="601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онерлік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лардың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ХҚО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ларының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і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зет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ла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оры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кемед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ға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іктің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ын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зетуд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п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у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ызда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мелерд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қтатқа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д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зетуд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п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у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шілес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рдың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мілелер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йақылард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яла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д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п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у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ызда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йақ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жат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бін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нг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зін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ТС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ары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уд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п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лды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стыр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ференциялары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ТЖ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гі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рбес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лім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р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лег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лар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ТС-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сатуд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ТС-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ң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тілг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касын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0%)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лар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lvl="4" algn="just"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11858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қталға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еңілдіктер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1699" y="1465990"/>
            <a:ext cx="11668602" cy="38779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9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йы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алық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мақтар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Астана </a:t>
            </a:r>
            <a:r>
              <a:rPr lang="ru-RU" sz="19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ялық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кінің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шылары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латын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9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ар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де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қындалған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лар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ржасының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зімдерін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а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ғанда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9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ссивті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9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9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із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месімен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боут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чартер, тайм-чартер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тары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к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ымалдауды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атын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етін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атын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lvl="4" indent="-285750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9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льмнің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қ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елері</a:t>
            </a:r>
            <a:r>
              <a:rPr lang="ru-RU" sz="19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латын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атын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</a:t>
            </a:r>
            <a:r>
              <a:rPr lang="ru-RU" sz="19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ker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sz="19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10130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әжірибе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3</a:t>
            </a:fld>
            <a:endParaRPr lang="en-US" sz="1050" dirty="0"/>
          </a:p>
        </p:txBody>
      </p:sp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id="{22E4FC5F-F1BE-47FF-BC6A-2F6EC23631CF}"/>
              </a:ext>
            </a:extLst>
          </p:cNvPr>
          <p:cNvGraphicFramePr>
            <a:graphicFrameLocks noGrp="1"/>
          </p:cNvGraphicFramePr>
          <p:nvPr/>
        </p:nvGraphicFramePr>
        <p:xfrm>
          <a:off x="1430447" y="1317665"/>
          <a:ext cx="8845235" cy="254402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439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055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1123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ЭЫДҰ </a:t>
                      </a:r>
                      <a:r>
                        <a:rPr lang="ru-RU" sz="1600" b="1" kern="1200" dirty="0" err="1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елдері</a:t>
                      </a:r>
                      <a:endParaRPr lang="ru-RU" sz="1600" b="1" kern="120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err="1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өлшерлемелер</a:t>
                      </a:r>
                      <a:endParaRPr lang="ru-RU" sz="160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76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ҚШ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230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ранция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176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err="1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пония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176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Германия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baseline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176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рвегия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176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нада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176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нляндия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aphicFrame>
        <p:nvGraphicFramePr>
          <p:cNvPr id="16" name="Таблица 15">
            <a:extLst>
              <a:ext uri="{FF2B5EF4-FFF2-40B4-BE49-F238E27FC236}">
                <a16:creationId xmlns:a16="http://schemas.microsoft.com/office/drawing/2014/main" id="{9553F85F-58B8-41B0-A0DD-A0E687444BC6}"/>
              </a:ext>
            </a:extLst>
          </p:cNvPr>
          <p:cNvGraphicFramePr>
            <a:graphicFrameLocks noGrp="1"/>
          </p:cNvGraphicFramePr>
          <p:nvPr/>
        </p:nvGraphicFramePr>
        <p:xfrm>
          <a:off x="1430448" y="4250900"/>
          <a:ext cx="8845235" cy="172891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418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033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5404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ЕАЭО </a:t>
                      </a:r>
                      <a:r>
                        <a:rPr lang="ru-RU" sz="1600" b="1" kern="1200" dirty="0" err="1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елдері</a:t>
                      </a:r>
                      <a:endParaRPr lang="ru-RU" sz="1600" b="1" kern="120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err="1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Мөлшерлемелер</a:t>
                      </a:r>
                      <a:endParaRPr lang="ru-RU" sz="160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075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ларусь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123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мения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07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err="1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ей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07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err="1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рғызстан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11F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</a:t>
                      </a:r>
                      <a:endParaRPr lang="ru-RU" sz="1600" b="0" dirty="0">
                        <a:solidFill>
                          <a:srgbClr val="011F6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09536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екторын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у 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4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343229" y="1620570"/>
            <a:ext cx="11480598" cy="41780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 секторы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r>
              <a:rPr lang="ru-RU" dirty="0"/>
              <a:t>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25%</a:t>
            </a:r>
          </a:p>
          <a:p>
            <a:pPr marL="9683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ат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аны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қт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теуд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ға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ерд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пағанд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20%</a:t>
            </a:r>
          </a:p>
          <a:p>
            <a:pPr marL="625475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шілес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рм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мілеле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терін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уғ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сері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велирлеу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ЕҚС</a:t>
            </a:r>
            <a:r>
              <a:rPr lang="ru-RU" dirty="0"/>
              <a:t>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lang="ru-RU" dirty="0"/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рын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9216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Ойы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изнесіне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у 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5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288907" y="1566249"/>
            <a:ext cx="11390063" cy="56938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зино,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йы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тар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лы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і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г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25%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кмекерлік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ңсенің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тализатордың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ардың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ын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й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ін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нат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ң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ыңғай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сі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ма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мша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ады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911225" lvl="4" indent="-285750" algn="just">
              <a:spcBef>
                <a:spcPts val="900"/>
              </a:spcBef>
              <a:buClr>
                <a:srgbClr val="000000"/>
              </a:buClr>
              <a:buFont typeface="Wingdings" pitchFamily="2" charset="2"/>
              <a:buChar char="§"/>
              <a:tabLst>
                <a:tab pos="10281920" algn="l"/>
              </a:tabLst>
              <a:defRPr/>
            </a:pP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йын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і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ъектілерін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казино,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йын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тары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лы,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тализаторлар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кмекерлік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ңсе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у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 </a:t>
            </a:r>
            <a:r>
              <a:rPr lang="ru-RU" sz="14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ымау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911225" lvl="4" indent="-285750" algn="just">
              <a:spcBef>
                <a:spcPts val="900"/>
              </a:spcBef>
              <a:buClr>
                <a:srgbClr val="000000"/>
              </a:buClr>
              <a:buFont typeface="Wingdings" pitchFamily="2" charset="2"/>
              <a:buChar char="§"/>
              <a:tabLst>
                <a:tab pos="10281920" algn="l"/>
              </a:tabLst>
              <a:defRPr/>
            </a:pPr>
            <a:r>
              <a:rPr lang="ru-RU" sz="14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йын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і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лері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лерді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 </a:t>
            </a:r>
            <a:r>
              <a:rPr lang="ru-RU" sz="14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ге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ғайту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йын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стелі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йын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втоматы, тотализатор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ссасы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тализатордың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ссасы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кмекерлік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ңсенің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ссасы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кмекерлік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ңсенің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ссасы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pPr marL="911225" lvl="4" indent="-285750" algn="just">
              <a:spcBef>
                <a:spcPts val="900"/>
              </a:spcBef>
              <a:buClr>
                <a:srgbClr val="000000"/>
              </a:buClr>
              <a:buFont typeface="Wingdings" pitchFamily="2" charset="2"/>
              <a:buChar char="§"/>
              <a:tabLst>
                <a:tab pos="10281920" algn="l"/>
              </a:tabLst>
              <a:defRPr/>
            </a:pP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йыншыға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шыға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қты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нген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ға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н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</a:t>
            </a:r>
          </a:p>
          <a:p>
            <a:pPr marL="911225" lvl="4" indent="-285750" algn="just">
              <a:spcBef>
                <a:spcPts val="9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endParaRPr lang="ru-RU" sz="1400" i="1" kern="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0706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а мен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коммерция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ұйымдарғ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у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6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325122" y="1394233"/>
            <a:ext cx="11136565" cy="59093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ғ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лім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медицина,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ылым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дениет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спорт,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тапханалар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10%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а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р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онерлер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тайшыларын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видендтер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ұқса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іледі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683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і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видендте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д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ей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рып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КТС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д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сатылды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мерция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рды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ртібі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ңдау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мерция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а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ыны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тарын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г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ТС-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сату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91431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лизинг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шарттар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у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7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445800" y="2435066"/>
            <a:ext cx="4385565" cy="25006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зинг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6450" lvl="4" indent="-363538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ге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натын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т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лизинг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йақ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сынан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0% -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ту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ғ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іледі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6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ір</a:t>
            </a:r>
            <a:r>
              <a:rPr lang="ru-RU" sz="16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0%)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Прямая соединительная линия 3">
            <a:extLst>
              <a:ext uri="{FF2B5EF4-FFF2-40B4-BE49-F238E27FC236}">
                <a16:creationId xmlns:a16="http://schemas.microsoft.com/office/drawing/2014/main" id="{98FB048C-595F-4963-8569-089CA78518C4}"/>
              </a:ext>
            </a:extLst>
          </p:cNvPr>
          <p:cNvCxnSpPr>
            <a:cxnSpLocks/>
          </p:cNvCxnSpPr>
          <p:nvPr/>
        </p:nvCxnSpPr>
        <p:spPr>
          <a:xfrm flipV="1">
            <a:off x="5232307" y="1054159"/>
            <a:ext cx="2983" cy="5730816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B24E27D0-34AA-46F4-B5A9-B9DD90266212}"/>
              </a:ext>
            </a:extLst>
          </p:cNvPr>
          <p:cNvSpPr/>
          <p:nvPr/>
        </p:nvSpPr>
        <p:spPr>
          <a:xfrm>
            <a:off x="5579018" y="1554817"/>
            <a:ext cx="5952204" cy="50064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еңілдетілг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а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салу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негізін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ұры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лизинг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юджетк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үсет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а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үсімдер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зайтады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Өз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атысушыларын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емлеке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ерг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а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еңілдіктерін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ұн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ұлғайту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ә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айт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өлу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үмкінд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ереді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ал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луш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лизингт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ар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алықт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ртықшылықтар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ала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ермей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, ал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олард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і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өліг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лизинг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еруші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өте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яғни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еңілдікте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ақсатт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ақсат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оғалтады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ал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луш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лизингт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ар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алықт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ртықшылықтар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ала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ермей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, ал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олард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і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өліг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лизинг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еруші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өте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яғни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еңілдікте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ақсатт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ақсат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оғалтады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еңілдіктер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олдануд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бюджет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шығын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20 млрд.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еңгед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са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(ҚР ҚМ МКК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деректері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ойынша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)</a:t>
            </a: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37795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ард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ынталандыр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8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437182" y="1498402"/>
            <a:ext cx="11317635" cy="42242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де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еркәсіб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r>
              <a:rPr lang="ru-RU" dirty="0"/>
              <a:t> 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у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ңгейіне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10%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ТС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п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нг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д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аны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қт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торын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нталандырат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мбебап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мкіндікте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:</a:t>
            </a:r>
          </a:p>
          <a:p>
            <a:pPr marL="911225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мінд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ды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ыме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имаратт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т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шинал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бдықт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дарлама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уд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ып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ғ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уғ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д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0%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індег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ференциялары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ртуғ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ғыртуғ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рдел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деуг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де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нің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ңдауы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жолғы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мортизация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800" i="0" u="none" strike="noStrike" dirty="0">
              <a:solidFill>
                <a:srgbClr val="00B05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4" algn="ctr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800" i="0" u="none" strike="noStrike" dirty="0">
              <a:solidFill>
                <a:srgbClr val="00B05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4" algn="ctr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5-2027 </a:t>
            </a:r>
            <a:r>
              <a:rPr lang="ru-RU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ры</a:t>
            </a:r>
            <a:r>
              <a:rPr lang="ru-RU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ТС </a:t>
            </a:r>
            <a:r>
              <a:rPr lang="ru-RU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</a:t>
            </a:r>
            <a:r>
              <a:rPr lang="ru-RU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мамен</a:t>
            </a:r>
            <a:r>
              <a:rPr lang="ru-RU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1,4</a:t>
            </a:r>
            <a:r>
              <a:rPr lang="ru-RU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лрд. </a:t>
            </a:r>
            <a:r>
              <a:rPr lang="ru-RU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endParaRPr lang="ru-RU" kern="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6697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ҒЗТКЖ-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у 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9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607453" y="2505670"/>
            <a:ext cx="4223912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ылымд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ландыруғ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наты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іст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0%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інд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зет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супер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герім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00%)</a:t>
            </a:r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6D7B7CF-8D1B-4146-BAE7-37E014F6165D}"/>
              </a:ext>
            </a:extLst>
          </p:cNvPr>
          <p:cNvSpPr/>
          <p:nvPr/>
        </p:nvSpPr>
        <p:spPr>
          <a:xfrm>
            <a:off x="5636232" y="1693316"/>
            <a:ext cx="5952204" cy="40729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ҒЗТКЖ-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ек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инвестициялар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арт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ұл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ғылыми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аладағ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инвестиция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елсенділікт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рттырады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ҒЗТКЖ мен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инновациялар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инвестиция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алат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шағ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ә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орта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изнест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үлес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ұлғайту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амтамасыз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ету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үмкінд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ереді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Ғылыми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ә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ғылыми-техника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ызме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нәтижелер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коммерцияландыруд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өсуі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Кәсіпкерле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үш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ғылыми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зерттеулерд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артымдылығ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он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ішін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әжірибелік-конструктор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ұмыстард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үлес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ақсарта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ұл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ЖІӨ-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н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ғылым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ажетсінуін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өсуі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үмкінд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ереді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177800" indent="-1778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§"/>
            </a:pP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cxnSp>
        <p:nvCxnSpPr>
          <p:cNvPr id="6" name="Прямая соединительная линия 3">
            <a:extLst>
              <a:ext uri="{FF2B5EF4-FFF2-40B4-BE49-F238E27FC236}">
                <a16:creationId xmlns:a16="http://schemas.microsoft.com/office/drawing/2014/main" id="{33EF3CB8-F416-4278-8646-A04DA7365D4D}"/>
              </a:ext>
            </a:extLst>
          </p:cNvPr>
          <p:cNvCxnSpPr>
            <a:cxnSpLocks/>
          </p:cNvCxnSpPr>
          <p:nvPr/>
        </p:nvCxnSpPr>
        <p:spPr>
          <a:xfrm flipV="1">
            <a:off x="5232307" y="1054159"/>
            <a:ext cx="2983" cy="5730816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07B3D269-EEE5-4674-B4F9-A0C63F54CB69}"/>
              </a:ext>
            </a:extLst>
          </p:cNvPr>
          <p:cNvSpPr txBox="1"/>
          <p:nvPr/>
        </p:nvSpPr>
        <p:spPr>
          <a:xfrm>
            <a:off x="805980" y="4380370"/>
            <a:ext cx="4223912" cy="12234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i="1" dirty="0">
                <a:solidFill>
                  <a:srgbClr val="0070C0"/>
                </a:solidFill>
                <a:latin typeface="Arial" panose="020B0604020202020204" pitchFamily="34" charset="0"/>
              </a:rPr>
              <a:t>2025-2029 </a:t>
            </a:r>
            <a:r>
              <a:rPr lang="ru-RU" sz="1600" i="1" dirty="0" err="1">
                <a:solidFill>
                  <a:srgbClr val="0070C0"/>
                </a:solidFill>
                <a:latin typeface="Arial" panose="020B0604020202020204" pitchFamily="34" charset="0"/>
              </a:rPr>
              <a:t>жылдардағы</a:t>
            </a:r>
            <a:r>
              <a:rPr lang="ru-RU" sz="1600" i="1" dirty="0">
                <a:solidFill>
                  <a:srgbClr val="0070C0"/>
                </a:solidFill>
                <a:latin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70C0"/>
                </a:solidFill>
                <a:latin typeface="Arial" panose="020B0604020202020204" pitchFamily="34" charset="0"/>
              </a:rPr>
              <a:t>шартты</a:t>
            </a:r>
            <a:r>
              <a:rPr lang="ru-RU" sz="1600" i="1" dirty="0">
                <a:solidFill>
                  <a:srgbClr val="0070C0"/>
                </a:solidFill>
                <a:latin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70C0"/>
                </a:solidFill>
                <a:latin typeface="Arial" panose="020B0604020202020204" pitchFamily="34" charset="0"/>
              </a:rPr>
              <a:t>шығындар</a:t>
            </a:r>
            <a:r>
              <a:rPr lang="ru-RU" sz="1600" i="1" dirty="0">
                <a:solidFill>
                  <a:srgbClr val="0070C0"/>
                </a:solidFill>
                <a:latin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70C0"/>
                </a:solidFill>
                <a:latin typeface="Arial" panose="020B0604020202020204" pitchFamily="34" charset="0"/>
              </a:rPr>
              <a:t>шамамен</a:t>
            </a:r>
            <a:r>
              <a:rPr lang="ru-RU" sz="1600" i="1" dirty="0">
                <a:solidFill>
                  <a:srgbClr val="0070C0"/>
                </a:solidFill>
                <a:latin typeface="Arial" panose="020B0604020202020204" pitchFamily="34" charset="0"/>
              </a:rPr>
              <a:t> </a:t>
            </a:r>
            <a:r>
              <a:rPr lang="ru-RU" sz="1600" b="1" i="1" dirty="0">
                <a:solidFill>
                  <a:srgbClr val="0070C0"/>
                </a:solidFill>
                <a:latin typeface="Arial" panose="020B0604020202020204" pitchFamily="34" charset="0"/>
              </a:rPr>
              <a:t>1, 9 млрд. </a:t>
            </a:r>
            <a:r>
              <a:rPr lang="ru-RU" sz="1600" b="1" i="1" dirty="0" err="1">
                <a:solidFill>
                  <a:srgbClr val="0070C0"/>
                </a:solidFill>
                <a:latin typeface="Arial" panose="020B0604020202020204" pitchFamily="34" charset="0"/>
              </a:rPr>
              <a:t>теңгені</a:t>
            </a:r>
            <a:r>
              <a:rPr lang="ru-RU" sz="1600" b="1" i="1" dirty="0">
                <a:solidFill>
                  <a:srgbClr val="0070C0"/>
                </a:solidFill>
                <a:latin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70C0"/>
                </a:solidFill>
                <a:latin typeface="Arial" panose="020B0604020202020204" pitchFamily="34" charset="0"/>
              </a:rPr>
              <a:t>құрайды</a:t>
            </a:r>
            <a:r>
              <a:rPr lang="ru-RU" sz="1600" i="1" dirty="0">
                <a:solidFill>
                  <a:srgbClr val="0070C0"/>
                </a:solidFill>
                <a:latin typeface="Arial" panose="020B060402020202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980160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04</TotalTime>
  <Words>2237</Words>
  <Application>Microsoft Office PowerPoint</Application>
  <PresentationFormat>Широкоэкранный</PresentationFormat>
  <Paragraphs>385</Paragraphs>
  <Slides>22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2" baseType="lpstr">
      <vt:lpstr>Arial</vt:lpstr>
      <vt:lpstr>Calibri</vt:lpstr>
      <vt:lpstr>Calibri Light</vt:lpstr>
      <vt:lpstr>Century Gothic</vt:lpstr>
      <vt:lpstr>Times New Roman</vt:lpstr>
      <vt:lpstr>Wingdings</vt:lpstr>
      <vt:lpstr>Wingdings 3</vt:lpstr>
      <vt:lpstr>Сектор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рина Лазарева</dc:creator>
  <cp:lastModifiedBy>User</cp:lastModifiedBy>
  <cp:revision>258</cp:revision>
  <cp:lastPrinted>2024-10-31T13:13:18Z</cp:lastPrinted>
  <dcterms:created xsi:type="dcterms:W3CDTF">2024-10-07T12:30:20Z</dcterms:created>
  <dcterms:modified xsi:type="dcterms:W3CDTF">2024-11-04T01:51:14Z</dcterms:modified>
</cp:coreProperties>
</file>